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3"/>
  </p:sldMasterIdLst>
  <p:notesMasterIdLst>
    <p:notesMasterId r:id="rId18"/>
  </p:notesMasterIdLst>
  <p:handoutMasterIdLst>
    <p:handoutMasterId r:id="rId19"/>
  </p:handoutMasterIdLst>
  <p:sldIdLst>
    <p:sldId id="398" r:id="rId14"/>
    <p:sldId id="399" r:id="rId15"/>
    <p:sldId id="400" r:id="rId16"/>
    <p:sldId id="397" r:id="rId17"/>
  </p:sldIdLst>
  <p:sldSz cx="9144000" cy="5143500" type="screen16x9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uze, Juul" initials="DJ" lastIdx="18" clrIdx="0">
    <p:extLst>
      <p:ext uri="{19B8F6BF-5375-455C-9EA6-DF929625EA0E}">
        <p15:presenceInfo xmlns:p15="http://schemas.microsoft.com/office/powerpoint/2012/main" userId="S-1-5-21-2052111302-790525478-839522115-89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0077"/>
    <a:srgbClr val="8345BA"/>
    <a:srgbClr val="DE7C00"/>
    <a:srgbClr val="15973A"/>
    <a:srgbClr val="269A91"/>
    <a:srgbClr val="9AD7F9"/>
    <a:srgbClr val="00A8EB"/>
    <a:srgbClr val="0077CC"/>
    <a:srgbClr val="00629F"/>
    <a:srgbClr val="0032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14" autoAdjust="0"/>
    <p:restoredTop sz="96327" autoAdjust="0"/>
  </p:normalViewPr>
  <p:slideViewPr>
    <p:cSldViewPr>
      <p:cViewPr varScale="1">
        <p:scale>
          <a:sx n="115" d="100"/>
          <a:sy n="115" d="100"/>
        </p:scale>
        <p:origin x="92" y="304"/>
      </p:cViewPr>
      <p:guideLst/>
    </p:cSldViewPr>
  </p:slideViewPr>
  <p:outlineViewPr>
    <p:cViewPr>
      <p:scale>
        <a:sx n="33" d="100"/>
        <a:sy n="33" d="100"/>
      </p:scale>
      <p:origin x="0" y="-26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25" d="100"/>
        <a:sy n="12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75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Master" Target="slideMasters/slideMaster1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4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1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D88A55-27A1-4726-B6BA-565570B037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F60674-C439-4C47-991B-97891DFF18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B6A92-9AC4-4241-A12D-3E444424FB26}" type="datetimeFigureOut">
              <a:rPr lang="en-IN" smtClean="0">
                <a:latin typeface="Calibri Light" panose="020F0302020204030204" pitchFamily="34" charset="0"/>
              </a:rPr>
              <a:t>28-09-2021</a:t>
            </a:fld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88F0D-C29C-4E6C-958B-8709D00BDD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97745-075A-4829-97D2-C764BFC9ED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909FF-10D1-4B66-B741-D72AB76F569D}" type="slidenum">
              <a:rPr lang="en-IN" smtClean="0">
                <a:latin typeface="Calibri Light" panose="020F0302020204030204" pitchFamily="34" charset="0"/>
              </a:rPr>
              <a:t>‹#›</a:t>
            </a:fld>
            <a:endParaRPr lang="en-IN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382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D710CCDE-DDDC-4977-B090-4BB893DA5E37}" type="datetimeFigureOut">
              <a:rPr lang="en-US" smtClean="0"/>
              <a:pPr/>
              <a:t>9/2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73309035-2A4D-4DEF-8CB7-7629389143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71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0A3CAD-6999-8848-92A5-B02A4C5F2F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23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overlay lef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0" y="0"/>
            <a:ext cx="5889129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</a:t>
            </a:r>
            <a:r>
              <a:rPr lang="en-GB" b="0" i="0" dirty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6" y="4719600"/>
            <a:ext cx="1064563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4F6BD1-05E3-0748-8229-5BFCF37D21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C7E7A55-842A-944F-B105-E98E505B49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78000"/>
            <a:ext cx="2627313" cy="4320000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buNone/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523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FB4E9C5-372D-B54F-AB35-3198E76F9B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6F08260-F124-AB45-A656-0CF6C91D5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16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81D39-1145-FA4E-B683-513036C347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E8E77E7-B238-0A4C-BBF8-DDD421A9C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75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CEDFCF-642D-F141-9A43-DB7CB01B36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22B8767-9500-8248-B35C-32B6CDB014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01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0A4A19-89A9-8948-BDDE-4E2EB8CFE8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86B91CD-B8EC-8C40-A3C6-C3EC4ECDB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866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4511675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419 x 843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1213" y="376238"/>
            <a:ext cx="3406776" cy="82708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21212" y="1211264"/>
            <a:ext cx="4016375" cy="3484562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0159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633200" y="0"/>
            <a:ext cx="45108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419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8"/>
            <a:ext cx="3997325" cy="827999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4"/>
            <a:ext cx="3997325" cy="3484562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917A831-45CE-E541-96F2-3935F3CC6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767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1" y="0"/>
            <a:ext cx="5889128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</a:t>
            </a:r>
            <a:r>
              <a:rPr lang="en-GB" b="0" i="0" dirty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076B3-C88A-1849-AD02-099D8151BF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7" y="4719600"/>
            <a:ext cx="1064562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9"/>
            <a:ext cx="2628901" cy="827999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3"/>
            <a:ext cx="2628901" cy="3484562"/>
          </a:xfrm>
        </p:spPr>
        <p:txBody>
          <a:bodyPr/>
          <a:lstStyle>
            <a:lvl5pPr>
              <a:defRPr b="0" i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0475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02219D4-C592-8940-ADFF-E19A71A469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3238" y="1211263"/>
            <a:ext cx="81252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NL" dirty="0"/>
              <a:t>Insert picture 1333 x 572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83748B-8051-B04A-A330-D39286CDE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3527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03237" y="1211263"/>
            <a:ext cx="5380037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icture 882 x </a:t>
            </a:r>
            <a:r>
              <a:rPr lang="en-NL" dirty="0"/>
              <a:t>572 px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07100" y="1211263"/>
            <a:ext cx="2633663" cy="348456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2956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54000">
              <a:srgbClr val="277CBD"/>
            </a:gs>
            <a:gs pos="0">
              <a:srgbClr val="004F9B"/>
            </a:gs>
            <a:gs pos="100000">
              <a:srgbClr val="4EA8D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18566EE-6596-4E4C-80AE-F3AC8BE71E4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38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D58B0C-DEF4-9C4E-83F3-91ADA716B2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52788" y="1211263"/>
            <a:ext cx="53784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dirty="0"/>
              <a:t>Insert picture 882 x </a:t>
            </a:r>
            <a:r>
              <a:rPr lang="en-NL" dirty="0"/>
              <a:t>572 px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9" y="1211263"/>
            <a:ext cx="2628900" cy="348456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7974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396CD-AD2C-4C47-BD26-1A8BF8500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8E6095F-3389-2E4D-BCE2-11E746829F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2902" y="1211263"/>
            <a:ext cx="4003199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buFontTx/>
              <a:buNone/>
              <a:defRPr lang="en-NL"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NL" dirty="0"/>
              <a:t>Insert picture 657 x 437 px 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339CC5C-F22B-304D-A447-6670052130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33200" y="1211263"/>
            <a:ext cx="4004388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lang="en-NL"/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NL" dirty="0"/>
              <a:t>Insert picture 657 x 437 p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6D2172C-34C6-364E-BF0F-059D58EB95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2901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4430373-7B1A-A941-AC6D-93D4F8DFD56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33200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0997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6080312F-DC21-814A-BAB8-040151BB50E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C96B7945-F4F7-DE48-B97F-38E596BA46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32A57064-1C6C-D845-B014-09A3E682B6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B04BB31-3751-EE42-AD85-15C18A9805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E323967-404E-AB4C-AC4D-0CDC89DC553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0021F8C-4E5C-3D45-BF5D-F2AF9BAC1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430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id-tone blue ">
    <p:bg>
      <p:bgPr>
        <a:gradFill>
          <a:gsLst>
            <a:gs pos="59500">
              <a:srgbClr val="0086C5"/>
            </a:gs>
            <a:gs pos="19000">
              <a:srgbClr val="00629F"/>
            </a:gs>
            <a:gs pos="100000">
              <a:srgbClr val="00A9EB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CF684170-CD15-0644-90DE-14C3E2C95BD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00883EC-6C7C-274C-AE4E-CFD99CA9C6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2B5FA1-DF99-E442-8EBC-42C77C709B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2C2815B-2D21-594A-B627-9046569E9A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9F0F0025-6299-A044-A653-6354D5DBB32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13279F3-F710-B24E-9A7D-299C782C32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88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22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023F51-026D-5E46-9A54-3FB9875B619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025032-5E65-0840-928E-8CC0B6A814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344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49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DEDCE0C-F84F-1E4A-ACC3-F4EDF4557E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6F0F002-1EDC-2C43-90DE-583DAA8D58C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D338944-5F6B-8740-B33F-3797457441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920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27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D74535-3265-D64A-81E0-73381FFC4CA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32516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blue ">
    <p:bg>
      <p:bgPr>
        <a:solidFill>
          <a:srgbClr val="9AD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58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4B1CE47-33D4-D54E-A336-2A5701982D7C}"/>
              </a:ext>
            </a:extLst>
          </p:cNvPr>
          <p:cNvSpPr/>
          <p:nvPr userDrawn="1"/>
        </p:nvSpPr>
        <p:spPr>
          <a:xfrm>
            <a:off x="2771800" y="2571750"/>
            <a:ext cx="3240360" cy="1008112"/>
          </a:xfrm>
          <a:prstGeom prst="rect">
            <a:avLst/>
          </a:prstGeom>
          <a:solidFill>
            <a:srgbClr val="99D6F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47BF3EC-16CE-A141-8FF7-985EF5BC11A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263BCAC-4CA0-974A-9D7E-258AFDAEDB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176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579AC81-C363-A948-A173-2610E0CA6E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1A0CBB6-7602-DE40-B831-5A107B3A2C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8A4F92F-F20F-6F4A-80DE-BF396AB6B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785A6D-6D1D-FC43-B2BE-87D984BA45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2FA384E-014D-9B44-93C2-668D70BBA4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0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3D2C968-C244-0D49-AD1E-AFCB0A150AE5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891879-481F-9042-86C3-D097F65751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78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9954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4A82FD8-C123-6C4B-8DBE-9837122C55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AC5C26-E5A8-3C47-93EB-265662C7AB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516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AEF666-6359-5147-A05F-BA3CE32B16B7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F82B835-5158-3F45-A2C4-061F625ECB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4E03471-5FE6-D74B-9540-92B9C4D01D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1041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15E7E6A-5494-3142-B269-7544F9FE7C8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91636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aqua ">
    <p:bg>
      <p:bgPr>
        <a:solidFill>
          <a:srgbClr val="7EDD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811A9D1-DBF1-C14E-991F-72D578D7466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D900186-F920-6143-855B-886099E8A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7670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BBF4A6-8DDC-2E4C-96CF-51EBD1E6D0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FB8A8EB-436C-6845-86B7-D6FDC99FC0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AE0E691-8886-0E40-9EA4-B3F26CBD07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D863537-6FEA-BE40-BF38-7FB3EB702F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28E57D-867F-FB4E-9580-AC8A24BC5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91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3029DE3-64CC-1E40-9F25-0CCA08B61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4CEB893-B518-6041-B6CB-4CBC6971C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284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915394F-6FD1-B44A-8BC5-25A08530D6B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115E60C-9A7F-7F49-933E-B7F92FC68E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32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2B1E0AD-84FA-5242-9A46-D758468C9A8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0D12D96-2291-5F4D-BBAF-D4B2125B99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039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EDD577C-F99F-FA4F-9FB5-A0C6AA0A7B9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20501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green ">
    <p:bg>
      <p:bgPr>
        <a:solidFill>
          <a:srgbClr val="A0DA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57255F6-8C21-744F-8D92-C06DDC109B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C389B14-2D49-EE42-981F-30A66F75FB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767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41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BA8BC5E-E6A4-8645-A260-7CADE8CBCF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C02D2E6-100E-1F4B-9A7C-96F5646577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872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8AE024E-D1DE-C94C-9CD8-854D4BCAA9B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08D519-DB29-5745-B29A-73745ED259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7EDB387-9FED-7D4A-9D4B-F0FEF66D69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CE77903-9A5C-CD4A-BFFA-94D952A945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1FB469-169F-6145-9457-2AD3FA7D03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95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FA0C0B3-F2D9-E64F-8BD1-FB651108C6E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B368F29-A0F3-CB41-8BE8-8BBB19E48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03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EB9AEEA-C1D8-F744-818F-1B46877C98D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D88AF71-7FE9-C34C-BA7E-DCB2552480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561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604DC70-6B27-494D-96E0-FD89F9EE6A3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B597171-0B66-7940-8E37-08BEE9007F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5035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orange">
    <p:bg>
      <p:bgPr>
        <a:solidFill>
          <a:srgbClr val="DE7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46D74D1-4655-1543-8CF6-6BF7823C452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0227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orange ">
    <p:bg>
      <p:bgPr>
        <a:solidFill>
          <a:srgbClr val="FDD3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94CFF-D91A-4F41-8BA6-E95F1752CCD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0FFAD38-CDC2-B446-A69B-6AE99B7F1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3834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2A7186A-964A-EB4F-9789-044D19D95B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127F79B-1E65-DD48-B267-7AFEB6BBE2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0A9773-912D-6D4A-A0AE-90D94C6C6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340A695-565C-C043-A4B4-C207135F1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39C626-9C15-2643-A855-1774CFA000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51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D31B981-DD0B-5D4C-8417-F2DDB9BFD56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D286636-2880-ED4E-BBAA-D8B224CAD9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617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E1BA89A-E5A3-F641-B25E-4A811196930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01DB0F5-C84F-CC4F-AF5C-9DB1CBA157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963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C348877-476A-6B4C-A12D-64D2709CD87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9AFBC0C-67B5-B845-B0A6-CCF7CFE846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1386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82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447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E7A9680-8254-064D-82E7-A42090B7D70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123605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magenta ">
    <p:bg>
      <p:bgPr>
        <a:solidFill>
          <a:srgbClr val="EABE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32576B3-A440-3948-B537-27709157EB0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B673564-5C8F-924B-865D-42FDB7792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885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BB80A2C-1391-9F42-89CA-3283D012270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725152D-96F4-C548-8A29-98FC765774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A72A02-B72F-AA46-A1B9-972C4E491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E3F0DA-D8A1-4C4E-B6E8-DA8D240EF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CDE3264-E045-0641-A1A3-A1E80BC0E4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8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CAD6624-CFD3-DE4F-9CE8-5EA1C453A87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F89A81F-5DBF-634D-A753-E2383D9012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2078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5406B4-D089-FF4F-8963-A2FC70C89784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523F0ED-CB93-DE48-AFB9-A53AD55835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913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purple 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BDA501-D362-2A4F-A6ED-4245831FD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43130FA-B170-8448-BE52-8B7BFBDA9E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196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D822C79-3554-5A4B-9209-FC2B5267AA8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246373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purple">
    <p:bg>
      <p:bgPr>
        <a:solidFill>
          <a:srgbClr val="C1A0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431FD78-9D96-9849-AB18-46CC54BF0B0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7567609-5959-4141-B4DA-A1F5F678EF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99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37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, unit measurement</a:t>
            </a:r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456" y="948267"/>
            <a:ext cx="8955089" cy="377613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A3B99A-F127-9346-BD1E-5E71BD5CE196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0BD20F-1F50-6A4D-99F6-9DA774AC2A4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230213-6661-3D4D-8989-3D83676989A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3471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532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948268"/>
            <a:ext cx="8955089" cy="377613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948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66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369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754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980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06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777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766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55361" y="948268"/>
            <a:ext cx="2694184" cy="377613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04776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62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3528059"/>
            <a:ext cx="3817122" cy="11963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1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C937022-651A-CB44-9522-9D3927CBABCD}"/>
              </a:ext>
            </a:extLst>
          </p:cNvPr>
          <p:cNvPicPr>
            <a:picLocks/>
          </p:cNvPicPr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988103" y="1835838"/>
            <a:ext cx="1144502" cy="14578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177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07504" y="4677984"/>
            <a:ext cx="892899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1" tIns="40815" rIns="81631" bIns="40815" rtlCol="0" anchor="ctr"/>
          <a:lstStyle/>
          <a:p>
            <a:pPr algn="ctr"/>
            <a:endParaRPr lang="en-US" b="0" i="0" dirty="0">
              <a:latin typeface="Calibri Light" panose="020F030202020403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103" y="1835837"/>
            <a:ext cx="1144502" cy="14549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286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14B76D6-1E80-FE45-861E-898D9060FB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3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90000"/>
              </a:lnSpc>
              <a:buClr>
                <a:srgbClr val="00629F"/>
              </a:buClr>
              <a:buNone/>
              <a:tabLst/>
              <a:defRPr sz="3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30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2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400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8386B580-0255-B14B-8CC7-759D3E4E772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bIns="503999" anchor="ctr"/>
          <a:lstStyle>
            <a:lvl1pPr algn="ctr">
              <a:buNone/>
              <a:defRPr/>
            </a:lvl1pPr>
          </a:lstStyle>
          <a:p>
            <a:endParaRPr lang="en-NL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A9D1465-550E-0E4E-B1C9-13DDC9BD1E1F}"/>
              </a:ext>
            </a:extLst>
          </p:cNvPr>
          <p:cNvSpPr txBox="1">
            <a:spLocks/>
          </p:cNvSpPr>
          <p:nvPr userDrawn="1"/>
        </p:nvSpPr>
        <p:spPr>
          <a:xfrm>
            <a:off x="7889640" y="4719600"/>
            <a:ext cx="1063904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8949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1500 x 843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8510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FBD5542-7C18-554E-8C38-9C18824A0F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029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72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826" y="4884454"/>
            <a:ext cx="718767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48068" y="4884454"/>
            <a:ext cx="3910151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0" y="4864360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3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4B2A6A-BE43-1D4A-8330-3072C7FC58B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  <a:endParaRPr lang="en-NL" dirty="0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78" r:id="rId3"/>
    <p:sldLayoutId id="2147483860" r:id="rId4"/>
    <p:sldLayoutId id="2147483955" r:id="rId5"/>
    <p:sldLayoutId id="2147483692" r:id="rId6"/>
    <p:sldLayoutId id="2147484176" r:id="rId7"/>
    <p:sldLayoutId id="2147483862" r:id="rId8"/>
    <p:sldLayoutId id="2147483948" r:id="rId9"/>
    <p:sldLayoutId id="2147483871" r:id="rId10"/>
    <p:sldLayoutId id="2147483866" r:id="rId11"/>
    <p:sldLayoutId id="2147483975" r:id="rId12"/>
    <p:sldLayoutId id="2147483867" r:id="rId13"/>
    <p:sldLayoutId id="2147483976" r:id="rId14"/>
    <p:sldLayoutId id="2147483984" r:id="rId15"/>
    <p:sldLayoutId id="2147483933" r:id="rId16"/>
    <p:sldLayoutId id="2147483869" r:id="rId17"/>
    <p:sldLayoutId id="2147483939" r:id="rId18"/>
    <p:sldLayoutId id="2147483936" r:id="rId19"/>
    <p:sldLayoutId id="2147483937" r:id="rId20"/>
    <p:sldLayoutId id="2147483938" r:id="rId21"/>
    <p:sldLayoutId id="2147484177" r:id="rId22"/>
    <p:sldLayoutId id="2147484146" r:id="rId23"/>
    <p:sldLayoutId id="2147484184" r:id="rId24"/>
    <p:sldLayoutId id="2147483918" r:id="rId25"/>
    <p:sldLayoutId id="2147483742" r:id="rId26"/>
    <p:sldLayoutId id="2147483766" r:id="rId27"/>
    <p:sldLayoutId id="2147484171" r:id="rId28"/>
    <p:sldLayoutId id="2147484149" r:id="rId29"/>
    <p:sldLayoutId id="2147484183" r:id="rId30"/>
    <p:sldLayoutId id="2147484095" r:id="rId31"/>
    <p:sldLayoutId id="2147484093" r:id="rId32"/>
    <p:sldLayoutId id="2147484100" r:id="rId33"/>
    <p:sldLayoutId id="2147484172" r:id="rId34"/>
    <p:sldLayoutId id="2147484152" r:id="rId35"/>
    <p:sldLayoutId id="2147484182" r:id="rId36"/>
    <p:sldLayoutId id="2147484107" r:id="rId37"/>
    <p:sldLayoutId id="2147484105" r:id="rId38"/>
    <p:sldLayoutId id="2147484109" r:id="rId39"/>
    <p:sldLayoutId id="2147484173" r:id="rId40"/>
    <p:sldLayoutId id="2147484155" r:id="rId41"/>
    <p:sldLayoutId id="2147484181" r:id="rId42"/>
    <p:sldLayoutId id="2147484116" r:id="rId43"/>
    <p:sldLayoutId id="2147484114" r:id="rId44"/>
    <p:sldLayoutId id="2147484118" r:id="rId45"/>
    <p:sldLayoutId id="2147484174" r:id="rId46"/>
    <p:sldLayoutId id="2147484158" r:id="rId47"/>
    <p:sldLayoutId id="2147484180" r:id="rId48"/>
    <p:sldLayoutId id="2147484125" r:id="rId49"/>
    <p:sldLayoutId id="2147484123" r:id="rId50"/>
    <p:sldLayoutId id="2147484127" r:id="rId51"/>
    <p:sldLayoutId id="2147484175" r:id="rId52"/>
    <p:sldLayoutId id="2147484160" r:id="rId53"/>
    <p:sldLayoutId id="2147484179" r:id="rId54"/>
    <p:sldLayoutId id="2147484134" r:id="rId55"/>
    <p:sldLayoutId id="2147484132" r:id="rId56"/>
    <p:sldLayoutId id="2147484136" r:id="rId57"/>
    <p:sldLayoutId id="2147484185" r:id="rId58"/>
    <p:sldLayoutId id="2147484186" r:id="rId59"/>
    <p:sldLayoutId id="2147484187" r:id="rId60"/>
    <p:sldLayoutId id="2147484188" r:id="rId61"/>
    <p:sldLayoutId id="2147484189" r:id="rId62"/>
    <p:sldLayoutId id="2147484190" r:id="rId63"/>
    <p:sldLayoutId id="2147484169" r:id="rId64"/>
    <p:sldLayoutId id="2147484142" r:id="rId65"/>
  </p:sldLayoutIdLst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400" kern="1200" smtClean="0">
          <a:solidFill>
            <a:srgbClr val="00629F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32004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2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429768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05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59436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0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701675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A4A3A4"/>
          </p15:clr>
        </p15:guide>
        <p15:guide id="2" pos="5441">
          <p15:clr>
            <a:srgbClr val="A4A3A4"/>
          </p15:clr>
        </p15:guide>
        <p15:guide id="4" orient="horz" pos="237">
          <p15:clr>
            <a:srgbClr val="A4A3A4"/>
          </p15:clr>
        </p15:guide>
        <p15:guide id="5" orient="horz" pos="690">
          <p15:clr>
            <a:srgbClr val="A4A3A4"/>
          </p15:clr>
        </p15:guide>
        <p15:guide id="6" orient="horz" pos="763">
          <p15:clr>
            <a:srgbClr val="A4A3A4"/>
          </p15:clr>
        </p15:guide>
        <p15:guide id="7" orient="horz" pos="2958">
          <p15:clr>
            <a:srgbClr val="A4A3A4"/>
          </p15:clr>
        </p15:guide>
        <p15:guide id="12" pos="2911" userDrawn="1">
          <p15:clr>
            <a:srgbClr val="A4A3A4"/>
          </p15:clr>
        </p15:guide>
        <p15:guide id="14" pos="2849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8.png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8EA9D-BE95-6043-B689-A96A780C39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ose Sheridan and Joanne Stac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03BAB-1548-B44F-8E3D-85FE8CD026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ngineering Excell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17C87F-2DCD-BF4B-A51C-A8A46AA7C9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eptember 22, 202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41DCD1-7E07-4346-AC06-6E652593F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7436" y="2038742"/>
            <a:ext cx="6902915" cy="1206990"/>
          </a:xfrm>
        </p:spPr>
        <p:txBody>
          <a:bodyPr/>
          <a:lstStyle/>
          <a:p>
            <a:r>
              <a:rPr lang="en-US" dirty="0"/>
              <a:t>3D Printed Head and Body Phantoms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8835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256914"/>
            <a:ext cx="5148069" cy="456984"/>
          </a:xfrm>
        </p:spPr>
        <p:txBody>
          <a:bodyPr/>
          <a:lstStyle/>
          <a:p>
            <a:r>
              <a:rPr lang="en-US" dirty="0"/>
              <a:t>459800442431 Phantom Assembly-Bod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</a:t>
            </a:fld>
            <a:endParaRPr lang="en-IN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BA86C5-CBF4-4B37-B273-209E995295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7585" y="827343"/>
            <a:ext cx="3067167" cy="316646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6A7BE26-35D0-41B1-8451-0DDAE4D4FA2E}"/>
              </a:ext>
            </a:extLst>
          </p:cNvPr>
          <p:cNvSpPr txBox="1"/>
          <p:nvPr/>
        </p:nvSpPr>
        <p:spPr>
          <a:xfrm>
            <a:off x="4671832" y="1059582"/>
            <a:ext cx="16075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“+” symbols can be indented into the printed part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3097A75-3AA1-417E-B7A7-7C97C843C7AD}"/>
              </a:ext>
            </a:extLst>
          </p:cNvPr>
          <p:cNvCxnSpPr>
            <a:cxnSpLocks/>
          </p:cNvCxnSpPr>
          <p:nvPr/>
        </p:nvCxnSpPr>
        <p:spPr>
          <a:xfrm flipH="1">
            <a:off x="3111055" y="1284327"/>
            <a:ext cx="1604961" cy="351319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8C5FB04-3F21-49AB-967C-535627BE0F1A}"/>
              </a:ext>
            </a:extLst>
          </p:cNvPr>
          <p:cNvCxnSpPr>
            <a:cxnSpLocks/>
          </p:cNvCxnSpPr>
          <p:nvPr/>
        </p:nvCxnSpPr>
        <p:spPr>
          <a:xfrm>
            <a:off x="1187624" y="1962200"/>
            <a:ext cx="1152128" cy="6095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666939FC-98A8-4D60-84D1-897DB669EC20}"/>
              </a:ext>
            </a:extLst>
          </p:cNvPr>
          <p:cNvSpPr txBox="1"/>
          <p:nvPr/>
        </p:nvSpPr>
        <p:spPr>
          <a:xfrm>
            <a:off x="201338" y="1739056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Qty 6, M8x1.25 threaded insert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ECEADAB-4325-48E0-B6A3-D2B5010F6C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4168" y="1707654"/>
            <a:ext cx="2787774" cy="2787774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534620B-EC07-4667-BC07-129F1B22E832}"/>
              </a:ext>
            </a:extLst>
          </p:cNvPr>
          <p:cNvCxnSpPr>
            <a:cxnSpLocks/>
          </p:cNvCxnSpPr>
          <p:nvPr/>
        </p:nvCxnSpPr>
        <p:spPr>
          <a:xfrm>
            <a:off x="5858219" y="3397965"/>
            <a:ext cx="1212816" cy="14401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3F56F159-BC87-489A-B44E-05272EBEFB4E}"/>
              </a:ext>
            </a:extLst>
          </p:cNvPr>
          <p:cNvSpPr txBox="1"/>
          <p:nvPr/>
        </p:nvSpPr>
        <p:spPr>
          <a:xfrm>
            <a:off x="4826732" y="3269918"/>
            <a:ext cx="12977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M4x0.7 threaded inser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DCABA4-217A-4994-96C7-19F11632D8A6}"/>
              </a:ext>
            </a:extLst>
          </p:cNvPr>
          <p:cNvSpPr txBox="1"/>
          <p:nvPr/>
        </p:nvSpPr>
        <p:spPr>
          <a:xfrm>
            <a:off x="107504" y="4083918"/>
            <a:ext cx="56760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Center portion (magenta) needs to be transparent/translucent acrylic with density 1.14-1.20 g/cm3; Free of scratches and marks; Surface roughne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Printed or assembled parts need to be watertight, no pressur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5E8BFD6-2ECF-4BC9-B58A-BB28F4444A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338" y="2101778"/>
            <a:ext cx="1116089" cy="21167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8ED644E-646C-4214-A6D5-24350F7BBA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03260" y="4246037"/>
            <a:ext cx="245750" cy="197345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8231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8E68A-D561-4845-9C32-CD73B5586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85" y="267494"/>
            <a:ext cx="7523937" cy="719137"/>
          </a:xfrm>
        </p:spPr>
        <p:txBody>
          <a:bodyPr/>
          <a:lstStyle/>
          <a:p>
            <a:r>
              <a:rPr lang="en-US" dirty="0"/>
              <a:t>459800443051 Phantom Assembly-Hea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2CC739-9D89-4C32-8C5C-6F47D6EF282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E9D3C1D-D1BB-44EF-9AA2-4FD04868B1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5166" y="672409"/>
            <a:ext cx="2304256" cy="239476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E9A4B20-B876-4CC3-A325-599C380E1A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9707" y="672409"/>
            <a:ext cx="2284461" cy="2390346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797BF2D-087C-41E4-8964-17DFAD848CA4}"/>
              </a:ext>
            </a:extLst>
          </p:cNvPr>
          <p:cNvCxnSpPr>
            <a:cxnSpLocks/>
          </p:cNvCxnSpPr>
          <p:nvPr/>
        </p:nvCxnSpPr>
        <p:spPr>
          <a:xfrm>
            <a:off x="1072545" y="1495454"/>
            <a:ext cx="595685" cy="35088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8D4374A-42E5-4803-BCB4-49D2D7D57480}"/>
              </a:ext>
            </a:extLst>
          </p:cNvPr>
          <p:cNvSpPr txBox="1"/>
          <p:nvPr/>
        </p:nvSpPr>
        <p:spPr>
          <a:xfrm>
            <a:off x="864209" y="3145598"/>
            <a:ext cx="1799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“+” symbols can be indented into the printed part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03477E6-5CCD-41A0-9508-6ED3E14C092B}"/>
              </a:ext>
            </a:extLst>
          </p:cNvPr>
          <p:cNvCxnSpPr>
            <a:cxnSpLocks/>
          </p:cNvCxnSpPr>
          <p:nvPr/>
        </p:nvCxnSpPr>
        <p:spPr>
          <a:xfrm flipV="1">
            <a:off x="2162526" y="2487177"/>
            <a:ext cx="648803" cy="70019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09FADD1-3FBC-4FB0-844E-360B099A5DF8}"/>
              </a:ext>
            </a:extLst>
          </p:cNvPr>
          <p:cNvSpPr txBox="1"/>
          <p:nvPr/>
        </p:nvSpPr>
        <p:spPr>
          <a:xfrm>
            <a:off x="119536" y="1330941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Qty 6, M8x1.25 threaded inserts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E2779D71-1A2A-46EC-9F7C-6374A0733623}"/>
              </a:ext>
            </a:extLst>
          </p:cNvPr>
          <p:cNvCxnSpPr>
            <a:cxnSpLocks/>
          </p:cNvCxnSpPr>
          <p:nvPr/>
        </p:nvCxnSpPr>
        <p:spPr>
          <a:xfrm flipV="1">
            <a:off x="3576158" y="2158655"/>
            <a:ext cx="542822" cy="100589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EA0DE1F-DA95-416C-A0C7-6A651A9BE869}"/>
              </a:ext>
            </a:extLst>
          </p:cNvPr>
          <p:cNvSpPr txBox="1"/>
          <p:nvPr/>
        </p:nvSpPr>
        <p:spPr>
          <a:xfrm>
            <a:off x="3027783" y="3145598"/>
            <a:ext cx="10856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Qty 4, M4x0.7 threaded inser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74A49F8-E806-4775-8354-FD8A340DBF45}"/>
              </a:ext>
            </a:extLst>
          </p:cNvPr>
          <p:cNvSpPr txBox="1"/>
          <p:nvPr/>
        </p:nvSpPr>
        <p:spPr>
          <a:xfrm>
            <a:off x="131390" y="3923116"/>
            <a:ext cx="56760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Center portion (magenta) needs to be transparent/translucent acrylic with density 1.14-1.20 g/cm3; Free of scratches and marks; Surface roughne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Printed or assembled parts need to be watertight, no pressur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59FC668-F822-4E12-924B-8ECD4560A4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351" y="1693663"/>
            <a:ext cx="1116089" cy="21167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63E2277-1DC7-4947-B09D-283317570E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7146" y="4085235"/>
            <a:ext cx="245750" cy="19734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B87F27A-BD9B-46A2-9390-3D4A6E464D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4349" y="3509483"/>
            <a:ext cx="1116089" cy="21167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37D740B-01CE-4BCE-A9B6-3EBE46EDD8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4453" y="1112008"/>
            <a:ext cx="2476109" cy="2919483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3025B9F6-3DD8-4362-BF69-13E4358E6C90}"/>
              </a:ext>
            </a:extLst>
          </p:cNvPr>
          <p:cNvCxnSpPr>
            <a:cxnSpLocks/>
            <a:stCxn id="51" idx="2"/>
          </p:cNvCxnSpPr>
          <p:nvPr/>
        </p:nvCxnSpPr>
        <p:spPr>
          <a:xfrm>
            <a:off x="7452320" y="997364"/>
            <a:ext cx="979336" cy="97762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22BD300-AF5B-4763-B209-ADE72723899F}"/>
              </a:ext>
            </a:extLst>
          </p:cNvPr>
          <p:cNvCxnSpPr>
            <a:cxnSpLocks/>
          </p:cNvCxnSpPr>
          <p:nvPr/>
        </p:nvCxnSpPr>
        <p:spPr>
          <a:xfrm flipV="1">
            <a:off x="6876256" y="2540370"/>
            <a:ext cx="376629" cy="163406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0BEE8CF3-C265-4CFE-9441-02BA4AB2CAE3}"/>
              </a:ext>
            </a:extLst>
          </p:cNvPr>
          <p:cNvCxnSpPr>
            <a:cxnSpLocks/>
          </p:cNvCxnSpPr>
          <p:nvPr/>
        </p:nvCxnSpPr>
        <p:spPr>
          <a:xfrm flipV="1">
            <a:off x="6876256" y="3509484"/>
            <a:ext cx="576064" cy="66495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F6FA65F8-A07E-4313-9605-049BFB3C2A86}"/>
              </a:ext>
            </a:extLst>
          </p:cNvPr>
          <p:cNvSpPr txBox="1"/>
          <p:nvPr/>
        </p:nvSpPr>
        <p:spPr>
          <a:xfrm>
            <a:off x="5966247" y="4156868"/>
            <a:ext cx="30040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d pin is acrylic with density 1.14-1.20 g/cm3</a:t>
            </a:r>
          </a:p>
          <a:p>
            <a:r>
              <a:rPr lang="en-US" sz="1000" dirty="0"/>
              <a:t>Gray pin is polyethylene with density 0.92-0.97 g/cm3</a:t>
            </a:r>
          </a:p>
          <a:p>
            <a:r>
              <a:rPr lang="en-US" sz="1000" dirty="0"/>
              <a:t>Free of scratches and marks; Surface roughness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42662E5-1971-4870-9D5C-3EFCB22FB2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5304" y="4513521"/>
            <a:ext cx="245750" cy="197345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F710B350-10C3-488A-B253-743C59343C16}"/>
              </a:ext>
            </a:extLst>
          </p:cNvPr>
          <p:cNvSpPr txBox="1"/>
          <p:nvPr/>
        </p:nvSpPr>
        <p:spPr>
          <a:xfrm>
            <a:off x="6949351" y="751143"/>
            <a:ext cx="10059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Water fill holes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2E673886-DC22-462F-914D-FB48A8D5C0BA}"/>
              </a:ext>
            </a:extLst>
          </p:cNvPr>
          <p:cNvCxnSpPr>
            <a:cxnSpLocks/>
            <a:stCxn id="51" idx="2"/>
          </p:cNvCxnSpPr>
          <p:nvPr/>
        </p:nvCxnSpPr>
        <p:spPr>
          <a:xfrm>
            <a:off x="7452320" y="997364"/>
            <a:ext cx="851192" cy="118538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087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5054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3900000000000005684E+00&quot;&gt;&lt;m_msothmcolidx val=&quot;0&quot;/&gt;&lt;m_rgb r=&quot;A3&quot; g=&quot;D9&quot; b=&quot;D9&quot;/&gt;&lt;m_nBrightness val=&quot;0&quot;/&gt;&lt;/elem&gt;&lt;elem m_fUsage=&quot;1.41682643648100059508E+00&quot;&gt;&lt;m_msothmcolidx val=&quot;0&quot;/&gt;&lt;m_rgb r=&quot;9E&quot; g=&quot;2D&quot; b=&quot;B1&quot;/&gt;&lt;m_nBrightness val=&quot;0&quot;/&gt;&lt;/elem&gt;&lt;elem m_fUsage=&quot;1.20667841354961047351E+00&quot;&gt;&lt;m_msothmcolidx val=&quot;0&quot;/&gt;&lt;m_rgb r=&quot;EC&quot; g=&quot;43&quot; b=&quot;71&quot;/&gt;&lt;m_nBrightness val=&quot;0&quot;/&gt;&lt;/elem&gt;&lt;elem m_fUsage=&quot;8.80119440100000316463E-01&quot;&gt;&lt;m_msothmcolidx val=&quot;0&quot;/&gt;&lt;m_rgb r=&quot;00&quot; g=&quot;8E&quot; b=&quot;CC&quot;/&gt;&lt;m_nBrightness val=&quot;0&quot;/&gt;&lt;/elem&gt;&lt;elem m_fUsage=&quot;6.84653792832900287557E-01&quot;&gt;&lt;m_msothmcolidx val=&quot;0&quot;/&gt;&lt;m_rgb r=&quot;9E&quot; g=&quot;2D&quot; b=&quot;11&quot;/&gt;&lt;m_nBrightness val=&quot;0&quot;/&gt;&lt;/elem&gt;&lt;elem m_fUsage=&quot;3.13810596090000171188E-01&quot;&gt;&lt;m_msothmcolidx val=&quot;0&quot;/&gt;&lt;m_rgb r=&quot;09&quot; g=&quot;A3&quot; b=&quot;FF&quot;/&gt;&lt;m_nBrightness val=&quot;0&quot;/&gt;&lt;/elem&gt;&lt;elem m_fUsage=&quot;2.05891132094649098594E-01&quot;&gt;&lt;m_msothmcolidx val=&quot;0&quot;/&gt;&lt;m_rgb r=&quot;D3&quot; g=&quot;E8&quot; b=&quot;E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template Jan21">
  <a:themeElements>
    <a:clrScheme name="Custom 8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7CC"/>
      </a:accent1>
      <a:accent2>
        <a:srgbClr val="269A91"/>
      </a:accent2>
      <a:accent3>
        <a:srgbClr val="16973A"/>
      </a:accent3>
      <a:accent4>
        <a:srgbClr val="DE7C00"/>
      </a:accent4>
      <a:accent5>
        <a:srgbClr val="D10077"/>
      </a:accent5>
      <a:accent6>
        <a:srgbClr val="8345BA"/>
      </a:accent6>
      <a:hlink>
        <a:srgbClr val="00619F"/>
      </a:hlink>
      <a:folHlink>
        <a:srgbClr val="00629F"/>
      </a:folHlink>
    </a:clrScheme>
    <a:fontScheme name="Custom 12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nov18_1112.pptx" id="{BEC723CF-679C-4F78-8FDC-5F75600573FC}" vid="{82C35204-7926-405E-85BB-7292904EC9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637509723489084706","enableDocumentContentUpdater":false,"version":"2.0"}]]></TemplafySlideTemplateConfiguration>
</file>

<file path=customXml/item10.xml><?xml version="1.0" encoding="utf-8"?>
<TemplafySlideTemplateConfiguration><![CDATA[{"slideVersion":1,"isValidatorEnabled":false,"isLocked":false,"elementsMetadata":[],"slideId":"637509723489070019","enableDocumentContentUpdater":fals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?mso-contentType ?>
<SharedContentType xmlns="Microsoft.SharePoint.Taxonomy.ContentTypeSync" SourceId="e40374fb-a6cc-4854-989f-c1d94a7967ee" ContentTypeId="0x01" PreviousValue="false"/>
</file>

<file path=customXml/item2.xml><?xml version="1.0" encoding="utf-8"?>
<TemplafySlideFormConfiguration><![CDATA[{"formFields":[],"formDataEntries":[]}]]></TemplafySlideFormConfigurati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emplafyTemplateConfiguration><![CDATA[{"elementsMetadata":[],"transformationConfigurations":[],"templateName":"presentation_template_jan21","templateDescription":"","enableDocumentContentUpdater":false,"version":"2.0"}]]></TemplafyTemplateConfiguratio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335BEB4439C146BF4D623A432BF34A" ma:contentTypeVersion="2" ma:contentTypeDescription="Create a new document." ma:contentTypeScope="" ma:versionID="9adf6a29b6daae7324c4a1480e1db70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6760a3896999adf652ead41f23e846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FormConfiguration><![CDATA[{"formFields":[],"formDataEntries":[]}]]></TemplafyFormConfiguration>
</file>

<file path=customXml/itemProps1.xml><?xml version="1.0" encoding="utf-8"?>
<ds:datastoreItem xmlns:ds="http://schemas.openxmlformats.org/officeDocument/2006/customXml" ds:itemID="{E393C3D5-7FAF-4F34-9A9D-F285CE742B54}">
  <ds:schemaRefs/>
</ds:datastoreItem>
</file>

<file path=customXml/itemProps10.xml><?xml version="1.0" encoding="utf-8"?>
<ds:datastoreItem xmlns:ds="http://schemas.openxmlformats.org/officeDocument/2006/customXml" ds:itemID="{15D23D2B-F97B-45DD-B741-66320F4542C8}">
  <ds:schemaRefs/>
</ds:datastoreItem>
</file>

<file path=customXml/itemProps11.xml><?xml version="1.0" encoding="utf-8"?>
<ds:datastoreItem xmlns:ds="http://schemas.openxmlformats.org/officeDocument/2006/customXml" ds:itemID="{4A946FF3-160F-4A1C-B0E0-2B913F1EC526}">
  <ds:schemaRefs/>
</ds:datastoreItem>
</file>

<file path=customXml/itemProps12.xml><?xml version="1.0" encoding="utf-8"?>
<ds:datastoreItem xmlns:ds="http://schemas.openxmlformats.org/officeDocument/2006/customXml" ds:itemID="{AE83D079-7761-4837-B6AD-F2A451A483E7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3C8584A6-94C1-46F4-B70E-88283F642BE1}">
  <ds:schemaRefs/>
</ds:datastoreItem>
</file>

<file path=customXml/itemProps3.xml><?xml version="1.0" encoding="utf-8"?>
<ds:datastoreItem xmlns:ds="http://schemas.openxmlformats.org/officeDocument/2006/customXml" ds:itemID="{D8CE77F4-195C-4E5F-A364-E1D1576A157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F07174FA-65F1-4FE8-A7FC-DF12F2571187}">
  <ds:schemaRefs/>
</ds:datastoreItem>
</file>

<file path=customXml/itemProps5.xml><?xml version="1.0" encoding="utf-8"?>
<ds:datastoreItem xmlns:ds="http://schemas.openxmlformats.org/officeDocument/2006/customXml" ds:itemID="{A4C6DCBC-A10C-4473-AF48-2D79BA76D9D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6.xml><?xml version="1.0" encoding="utf-8"?>
<ds:datastoreItem xmlns:ds="http://schemas.openxmlformats.org/officeDocument/2006/customXml" ds:itemID="{BB8A2A74-A08C-43F4-8135-06DDCD4E4E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7.xml><?xml version="1.0" encoding="utf-8"?>
<ds:datastoreItem xmlns:ds="http://schemas.openxmlformats.org/officeDocument/2006/customXml" ds:itemID="{00D47998-4438-44B4-9601-68DDF5DB1E89}">
  <ds:schemaRefs/>
</ds:datastoreItem>
</file>

<file path=customXml/itemProps8.xml><?xml version="1.0" encoding="utf-8"?>
<ds:datastoreItem xmlns:ds="http://schemas.openxmlformats.org/officeDocument/2006/customXml" ds:itemID="{DC398212-E8C0-49B1-B248-E8B44EFB0FB4}">
  <ds:schemaRefs/>
</ds:datastoreItem>
</file>

<file path=customXml/itemProps9.xml><?xml version="1.0" encoding="utf-8"?>
<ds:datastoreItem xmlns:ds="http://schemas.openxmlformats.org/officeDocument/2006/customXml" ds:itemID="{6A9715CE-8DDF-42CF-BC31-5D7F3B0A8B7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1</Words>
  <Application>Microsoft Office PowerPoint</Application>
  <PresentationFormat>On-screen Show (16:9)</PresentationFormat>
  <Paragraphs>2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OpenSans</vt:lpstr>
      <vt:lpstr>Presentation template Jan21</vt:lpstr>
      <vt:lpstr>think-cell Slide</vt:lpstr>
      <vt:lpstr>PowerPoint Presentation</vt:lpstr>
      <vt:lpstr>459800442431 Phantom Assembly-Body</vt:lpstr>
      <vt:lpstr>459800443051 Phantom Assembly-Hea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say meulemans</dc:creator>
  <cp:lastModifiedBy>Sheridan, Rosemarie</cp:lastModifiedBy>
  <cp:revision>1122</cp:revision>
  <dcterms:created xsi:type="dcterms:W3CDTF">2021-08-25T04:50:26Z</dcterms:created>
  <dcterms:modified xsi:type="dcterms:W3CDTF">2021-09-28T15:1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335BEB4439C146BF4D623A432BF34A</vt:lpwstr>
  </property>
  <property fmtid="{D5CDD505-2E9C-101B-9397-08002B2CF9AE}" pid="3" name="TemplafyTimeStamp">
    <vt:lpwstr>2021-03-10T11:25:48</vt:lpwstr>
  </property>
  <property fmtid="{D5CDD505-2E9C-101B-9397-08002B2CF9AE}" pid="4" name="TemplafyTenantId">
    <vt:lpwstr>philips</vt:lpwstr>
  </property>
  <property fmtid="{D5CDD505-2E9C-101B-9397-08002B2CF9AE}" pid="5" name="TemplafyTemplateId">
    <vt:lpwstr>637509723480120608</vt:lpwstr>
  </property>
  <property fmtid="{D5CDD505-2E9C-101B-9397-08002B2CF9AE}" pid="6" name="TemplafyUserProfileId">
    <vt:lpwstr>637651460417448863</vt:lpwstr>
  </property>
  <property fmtid="{D5CDD505-2E9C-101B-9397-08002B2CF9AE}" pid="7" name="TemplafyFromBlank">
    <vt:bool>true</vt:bool>
  </property>
</Properties>
</file>